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963" r:id="rId7"/>
    <p:sldMasterId id="2147484967" r:id="rId8"/>
  </p:sldMasterIdLst>
  <p:notesMasterIdLst>
    <p:notesMasterId r:id="rId10"/>
  </p:notesMasterIdLst>
  <p:handoutMasterIdLst>
    <p:handoutMasterId r:id="rId11"/>
  </p:handoutMasterIdLst>
  <p:sldIdLst>
    <p:sldId id="306" r:id="rId9"/>
  </p:sldIdLst>
  <p:sldSz cx="9144000" cy="6858000" type="screen4x3"/>
  <p:notesSz cx="6797675" cy="9926638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0">
          <p15:clr>
            <a:srgbClr val="A4A3A4"/>
          </p15:clr>
        </p15:guide>
        <p15:guide id="2" orient="horz" pos="3753">
          <p15:clr>
            <a:srgbClr val="A4A3A4"/>
          </p15:clr>
        </p15:guide>
        <p15:guide id="3" pos="56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037079" initials="" lastIdx="11" clrIdx="0"/>
  <p:cmAuthor id="1" name="Jochen Roehrig" initials="" lastIdx="1" clrIdx="1"/>
  <p:cmAuthor id="2" name="Zoran Spasic" initials="ZS" lastIdx="3" clrIdx="2"/>
  <p:cmAuthor id="3" name="Jochen Roehrig" initials="JR" lastIdx="5" clrIdx="3"/>
  <p:cmAuthor id="4" name="Oscar Fernandez Moreno" initials="OFM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  <a:srgbClr val="00FF00"/>
    <a:srgbClr val="000066"/>
    <a:srgbClr val="E7E9EF"/>
    <a:srgbClr val="DFE8F5"/>
    <a:srgbClr val="FF0066"/>
    <a:srgbClr val="99FF99"/>
    <a:srgbClr val="E4AD20"/>
    <a:srgbClr val="FDA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6" autoAdjust="0"/>
    <p:restoredTop sz="96134" autoAdjust="0"/>
  </p:normalViewPr>
  <p:slideViewPr>
    <p:cSldViewPr snapToGrid="0">
      <p:cViewPr>
        <p:scale>
          <a:sx n="80" d="100"/>
          <a:sy n="80" d="100"/>
        </p:scale>
        <p:origin x="1116" y="-492"/>
      </p:cViewPr>
      <p:guideLst>
        <p:guide orient="horz" pos="4080"/>
        <p:guide orient="horz" pos="3753"/>
        <p:guide pos="5624"/>
      </p:guideLst>
    </p:cSldViewPr>
  </p:slideViewPr>
  <p:outlineViewPr>
    <p:cViewPr>
      <p:scale>
        <a:sx n="33" d="100"/>
        <a:sy n="33" d="100"/>
      </p:scale>
      <p:origin x="0" y="101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1" d="100"/>
          <a:sy n="81" d="100"/>
        </p:scale>
        <p:origin x="-4020" y="-102"/>
      </p:cViewPr>
      <p:guideLst>
        <p:guide orient="horz" pos="3127"/>
        <p:guide pos="2140"/>
      </p:guideLst>
    </p:cSldViewPr>
  </p:notesViewPr>
  <p:gridSpacing cx="72237" cy="72237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0"/>
            <a:ext cx="294639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98" y="0"/>
            <a:ext cx="294639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4/10/2015</a:t>
            </a:r>
            <a:endParaRPr lang="de-DE" dirty="0"/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9" y="9428179"/>
            <a:ext cx="294639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Printed on: </a:t>
            </a:r>
            <a:endParaRPr lang="de-DE"/>
          </a:p>
        </p:txBody>
      </p:sp>
      <p:sp>
        <p:nvSpPr>
          <p:cNvPr id="573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98" y="9428179"/>
            <a:ext cx="294639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5A4631B-A7C5-4AC1-BCE8-18B7564940E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453603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2946398" cy="496888"/>
          </a:xfrm>
          <a:prstGeom prst="rect">
            <a:avLst/>
          </a:prstGeom>
        </p:spPr>
        <p:txBody>
          <a:bodyPr vert="horz" lIns="95154" tIns="47577" rIns="95154" bIns="47577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98" y="0"/>
            <a:ext cx="2946398" cy="496888"/>
          </a:xfrm>
          <a:prstGeom prst="rect">
            <a:avLst/>
          </a:prstGeom>
        </p:spPr>
        <p:txBody>
          <a:bodyPr vert="horz" lIns="95154" tIns="47577" rIns="95154" bIns="47577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4/10/2015</a:t>
            </a:r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154" tIns="47577" rIns="95154" bIns="47577" rtlCol="0" anchor="ctr"/>
          <a:lstStyle/>
          <a:p>
            <a:pPr lvl="0"/>
            <a:endParaRPr lang="de-DE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46" y="4714888"/>
            <a:ext cx="5435599" cy="4467225"/>
          </a:xfrm>
          <a:prstGeom prst="rect">
            <a:avLst/>
          </a:prstGeom>
        </p:spPr>
        <p:txBody>
          <a:bodyPr vert="horz" lIns="95154" tIns="47577" rIns="95154" bIns="47577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e-DE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9428179"/>
            <a:ext cx="2946398" cy="496887"/>
          </a:xfrm>
          <a:prstGeom prst="rect">
            <a:avLst/>
          </a:prstGeom>
        </p:spPr>
        <p:txBody>
          <a:bodyPr vert="horz" lIns="95154" tIns="47577" rIns="95154" bIns="47577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de-DE" smtClean="0"/>
              <a:t>Printed on: 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98" y="9428179"/>
            <a:ext cx="2946398" cy="496887"/>
          </a:xfrm>
          <a:prstGeom prst="rect">
            <a:avLst/>
          </a:prstGeom>
        </p:spPr>
        <p:txBody>
          <a:bodyPr vert="horz" lIns="95154" tIns="47577" rIns="95154" bIns="47577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58B736FB-6ECC-4355-98CC-BF17AA82C87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062910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jpeg" Type="http://schemas.openxmlformats.org/officeDocument/2006/relationships/image"/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4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jpeg" Type="http://schemas.openxmlformats.org/officeDocument/2006/relationships/image"/><Relationship Id="rId1" Target="../slideMasters/slideMaster2.xml" Type="http://schemas.openxmlformats.org/officeDocument/2006/relationships/slideMaster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6"/>
          <p:cNvSpPr txBox="1">
            <a:spLocks noChangeArrowheads="1"/>
          </p:cNvSpPr>
          <p:nvPr/>
        </p:nvSpPr>
        <p:spPr bwMode="auto">
          <a:xfrm>
            <a:off x="614363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414338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913" y="6207125"/>
            <a:ext cx="1597025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124075" y="5229225"/>
            <a:ext cx="6624638" cy="647700"/>
          </a:xfrm>
          <a:solidFill>
            <a:srgbClr val="FFFFFF">
              <a:alpha val="50000"/>
            </a:srgbClr>
          </a:solidFill>
          <a:ln algn="ctr"/>
        </p:spPr>
        <p:txBody>
          <a:bodyPr lIns="91440" anchor="ctr"/>
          <a:lstStyle>
            <a:lvl1pPr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24075" y="4508500"/>
            <a:ext cx="6623050" cy="649288"/>
          </a:xfrm>
          <a:solidFill>
            <a:srgbClr val="FFFFFF">
              <a:alpha val="50000"/>
            </a:srgbClr>
          </a:solidFill>
          <a:ln/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smtClean="0"/>
              <a:t>Titelmasterformat durch klic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573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4" name="Object 45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837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4" spid="_x0000_s1863121">
                  <p:embed/>
                </p:oleObj>
              </mc:Choice>
              <mc:Fallback>
                <p:oleObj imgH="360" imgW="360" name="think-cell Slide" progId="TCLayout.ActiveDocument.1" r:id="rId4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Logo_Blickwinkel_xtraS" id="5" name="Picture 2"/>
          <p:cNvPicPr>
            <a:picLocks noChangeArrowheads="1" noChangeAspect="1"/>
          </p:cNvPicPr>
          <p:nvPr/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descr="Logo_Blickwinkel Kopie.png" id="7" name="Bild 2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8" name="Bild 2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9" name="Bild 2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1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  <p:sp>
          <p:nvSpPr>
            <p:cNvPr id="12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</p:grpSp>
      <p:pic>
        <p:nvPicPr>
          <p:cNvPr descr="FMC-Logo-2009_blue" id="13" name="Picture 8"/>
          <p:cNvPicPr>
            <a:picLocks noChangeArrowheads="1"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wrap="none"/>
          <a:lstStyle/>
          <a:p>
            <a:endParaRPr dirty="0" lang="en-US" smtClean="0">
              <a:solidFill>
                <a:srgbClr val="00509C"/>
              </a:solidFill>
              <a:latin charset="0" pitchFamily="34" typeface="Calibri"/>
              <a:cs charset="0" pitchFamily="34"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58750"/>
            <a:ext cx="8345487" cy="822325"/>
          </a:xfrm>
        </p:spPr>
        <p:txBody>
          <a:bodyPr/>
          <a:lstStyle>
            <a:lvl1pPr>
              <a:defRPr b="1"/>
            </a:lvl1pPr>
          </a:lstStyle>
          <a:p>
            <a:r>
              <a:rPr dirty="0" lang="en-US" smtClean="0"/>
              <a:t>Click to edit Master title style</a:t>
            </a:r>
            <a:endParaRPr dirty="0"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bIns="36000" lIns="36000" rIns="36000" tIns="36000"/>
          <a:lstStyle>
            <a:lvl1pPr indent="-206375" marL="206375">
              <a:spcBef>
                <a:spcPts val="600"/>
              </a:spcBef>
              <a:buFont charset="2" pitchFamily="2" typeface="Wingdings"/>
              <a:buChar char="§"/>
              <a:defRPr sz="1600"/>
            </a:lvl1pPr>
            <a:lvl2pPr indent="-227013" marL="434975">
              <a:spcBef>
                <a:spcPts val="600"/>
              </a:spcBef>
              <a:buFont charset="2" pitchFamily="2" typeface="Wingdings"/>
              <a:buChar char="§"/>
              <a:defRPr sz="1600"/>
            </a:lvl2pPr>
            <a:lvl3pPr indent="-227013" marL="663575">
              <a:spcBef>
                <a:spcPts val="600"/>
              </a:spcBef>
              <a:buFont charset="2" pitchFamily="2" typeface="Wingdings"/>
              <a:buChar char="§"/>
              <a:defRPr sz="1400"/>
            </a:lvl3pPr>
            <a:lvl4pPr indent="-238125" marL="903288">
              <a:spcBef>
                <a:spcPts val="600"/>
              </a:spcBef>
              <a:buFont charset="2" pitchFamily="2" typeface="Wingdings"/>
              <a:buChar char="§"/>
              <a:defRPr sz="1400"/>
            </a:lvl4pPr>
            <a:lvl5pPr indent="-204788" marL="1109663">
              <a:spcBef>
                <a:spcPts val="600"/>
              </a:spcBef>
              <a:buFont charset="2" pitchFamily="2" typeface="Wingdings"/>
              <a:buChar char="§"/>
              <a:defRPr sz="1400"/>
            </a:lvl5pPr>
          </a:lstStyle>
          <a:p>
            <a:pPr lvl="0"/>
            <a:r>
              <a:rPr dirty="0" lang="en-US" smtClean="0"/>
              <a:t>Click to edit Master text styles</a:t>
            </a:r>
          </a:p>
          <a:p>
            <a:pPr lvl="1"/>
            <a:r>
              <a:rPr dirty="0" lang="en-US" smtClean="0"/>
              <a:t>Second level</a:t>
            </a:r>
          </a:p>
          <a:p>
            <a:pPr lvl="2"/>
            <a:r>
              <a:rPr dirty="0" lang="en-US" smtClean="0"/>
              <a:t>Third level</a:t>
            </a:r>
          </a:p>
          <a:p>
            <a:pPr lvl="3"/>
            <a:r>
              <a:rPr dirty="0" lang="en-US" smtClean="0"/>
              <a:t>Fourth level</a:t>
            </a:r>
          </a:p>
          <a:p>
            <a:pPr lvl="4"/>
            <a:r>
              <a:rPr dirty="0" lang="en-US" smtClean="0"/>
              <a:t>Fifth level</a:t>
            </a:r>
            <a:endParaRPr dirty="0" lang="de-DE"/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auto" rtl="0">
              <a:spcBef>
                <a:spcPts val="0"/>
              </a:spcBef>
              <a:spcAft>
                <a:spcPts val="0"/>
              </a:spcAft>
              <a:defRPr b="1" kern="1200" sz="9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>
                <a:latin typeface="Calibri"/>
              </a:rPr>
              <a:pPr>
                <a:defRPr/>
              </a:pPr>
              <a:t>‹#›</a:t>
            </a:fld>
            <a:endParaRPr dirty="0" lang="de-DE">
              <a:latin typeface="Calibri"/>
            </a:endParaRPr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base" rtl="0">
              <a:spcBef>
                <a:spcPct val="0"/>
              </a:spcBef>
              <a:spcAft>
                <a:spcPct val="0"/>
              </a:spcAft>
              <a:defRPr kern="1200" sz="800">
                <a:solidFill>
                  <a:srgbClr val="00509C"/>
                </a:solidFill>
                <a:latin charset="0" typeface="Arial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 algn="r" defTabSz="914400" eaLnBrk="1" fontAlgn="base" hangingPunct="1" indent="0" latinLnBrk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b="0" dirty="0" lang="de-DE" smtClean="0"/>
              <a:t>China Steering Committee</a:t>
            </a:r>
            <a:endParaRPr b="0" dirty="0" lang="en-US" smtClean="0"/>
          </a:p>
        </p:txBody>
      </p:sp>
    </p:spTree>
    <p:extLst>
      <p:ext uri="{BB962C8B-B14F-4D97-AF65-F5344CB8AC3E}">
        <p14:creationId xmlns:p14="http://schemas.microsoft.com/office/powerpoint/2010/main" val="227570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dur="indefinite" id="1" nodeType="tmRoot" restart="never"/>
      </p:par>
    </p:tnLst>
  </p:timing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" name="Object 45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8023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4" spid="_x0000_s1864143">
                  <p:embed/>
                </p:oleObj>
              </mc:Choice>
              <mc:Fallback>
                <p:oleObj imgH="360" imgW="360" name="think-cell Slide" progId="TCLayout.ActiveDocument.1" r:id="rId4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Logo_Blickwinkel_xtraS" id="4" name="Picture 2"/>
          <p:cNvPicPr>
            <a:picLocks noChangeArrowheads="1" noChangeAspect="1"/>
          </p:cNvPicPr>
          <p:nvPr/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descr="Logo_Blickwinkel Kopie.png" id="6" name="Bild 2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7" name="Bild 2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8" name="Bild 2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0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</p:grpSp>
      <p:pic>
        <p:nvPicPr>
          <p:cNvPr descr="FMC-Logo-2009_blue" id="12" name="Picture 8"/>
          <p:cNvPicPr>
            <a:picLocks noChangeArrowheads="1"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wrap="none"/>
          <a:lstStyle/>
          <a:p>
            <a:endParaRPr dirty="0" lang="en-US" smtClean="0">
              <a:solidFill>
                <a:srgbClr val="00509C"/>
              </a:solidFill>
              <a:latin charset="0" pitchFamily="34" typeface="Calibri"/>
              <a:cs charset="0" pitchFamily="34"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en-US" smtClean="0"/>
              <a:t>Click to edit Master title style</a:t>
            </a:r>
            <a:endParaRPr dirty="0" lang="de-DE"/>
          </a:p>
        </p:txBody>
      </p:sp>
      <p:sp>
        <p:nvSpPr>
          <p:cNvPr id="16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auto" rtl="0">
              <a:spcBef>
                <a:spcPts val="0"/>
              </a:spcBef>
              <a:spcAft>
                <a:spcPts val="0"/>
              </a:spcAft>
              <a:defRPr b="1" kern="1200" sz="9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>
                <a:latin typeface="Calibri"/>
              </a:rPr>
              <a:pPr>
                <a:defRPr/>
              </a:pPr>
              <a:t>‹#›</a:t>
            </a:fld>
            <a:endParaRPr dirty="0" lang="de-DE">
              <a:latin typeface="Calibri"/>
            </a:endParaRPr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base" rtl="0">
              <a:spcBef>
                <a:spcPct val="0"/>
              </a:spcBef>
              <a:spcAft>
                <a:spcPct val="0"/>
              </a:spcAft>
              <a:defRPr kern="1200" sz="800">
                <a:solidFill>
                  <a:srgbClr val="00509C"/>
                </a:solidFill>
                <a:latin charset="0" typeface="Arial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 algn="r" defTabSz="914400" eaLnBrk="1" fontAlgn="base" hangingPunct="1" indent="0" latinLnBrk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b="0" dirty="0" lang="de-DE" smtClean="0"/>
              <a:t>China Steering Committee</a:t>
            </a:r>
            <a:endParaRPr b="0" dirty="0" lang="en-US" smtClean="0"/>
          </a:p>
        </p:txBody>
      </p:sp>
    </p:spTree>
    <p:extLst>
      <p:ext uri="{BB962C8B-B14F-4D97-AF65-F5344CB8AC3E}">
        <p14:creationId xmlns:p14="http://schemas.microsoft.com/office/powerpoint/2010/main" val="271137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dur="indefinite" id="1" nodeType="tmRoot" restart="never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6"/>
          <p:cNvSpPr txBox="1">
            <a:spLocks noChangeArrowheads="1"/>
          </p:cNvSpPr>
          <p:nvPr/>
        </p:nvSpPr>
        <p:spPr bwMode="auto">
          <a:xfrm>
            <a:off x="614363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414338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913" y="6207125"/>
            <a:ext cx="1597025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124075" y="5229225"/>
            <a:ext cx="6624638" cy="647700"/>
          </a:xfrm>
          <a:solidFill>
            <a:srgbClr val="FFFFFF">
              <a:alpha val="50000"/>
            </a:srgbClr>
          </a:solidFill>
          <a:ln algn="ctr"/>
        </p:spPr>
        <p:txBody>
          <a:bodyPr lIns="91440" anchor="ctr"/>
          <a:lstStyle>
            <a:lvl1pPr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24075" y="4508500"/>
            <a:ext cx="6623050" cy="649288"/>
          </a:xfrm>
          <a:solidFill>
            <a:srgbClr val="FFFFFF">
              <a:alpha val="50000"/>
            </a:srgbClr>
          </a:solidFill>
          <a:ln/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smtClean="0"/>
              <a:t>Titelmasterformat durch klic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9729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4" name="Object 45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5289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4" spid="_x0000_s1944656">
                  <p:embed/>
                </p:oleObj>
              </mc:Choice>
              <mc:Fallback>
                <p:oleObj imgH="360" imgW="360" name="think-cell Slide" progId="TCLayout.ActiveDocument.1" r:id="rId4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Logo_Blickwinkel_xtraS" id="5" name="Picture 2"/>
          <p:cNvPicPr>
            <a:picLocks noChangeArrowheads="1" noChangeAspect="1"/>
          </p:cNvPicPr>
          <p:nvPr/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descr="Logo_Blickwinkel Kopie.png" id="7" name="Bild 2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8" name="Bild 2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9" name="Bild 2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1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  <p:sp>
          <p:nvSpPr>
            <p:cNvPr id="12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</p:grpSp>
      <p:pic>
        <p:nvPicPr>
          <p:cNvPr descr="FMC-Logo-2009_blue" id="13" name="Picture 8"/>
          <p:cNvPicPr>
            <a:picLocks noChangeArrowheads="1"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wrap="none"/>
          <a:lstStyle/>
          <a:p>
            <a:endParaRPr dirty="0" lang="en-US" smtClean="0">
              <a:solidFill>
                <a:srgbClr val="00509C"/>
              </a:solidFill>
              <a:latin charset="0" pitchFamily="34" typeface="Calibri"/>
              <a:cs charset="0" pitchFamily="34"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58750"/>
            <a:ext cx="8345487" cy="822325"/>
          </a:xfrm>
        </p:spPr>
        <p:txBody>
          <a:bodyPr/>
          <a:lstStyle>
            <a:lvl1pPr>
              <a:defRPr b="1"/>
            </a:lvl1pPr>
          </a:lstStyle>
          <a:p>
            <a:r>
              <a:rPr dirty="0" lang="en-US" smtClean="0"/>
              <a:t>Click to edit Master title style</a:t>
            </a:r>
            <a:endParaRPr dirty="0"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bIns="36000" lIns="36000" rIns="36000" tIns="36000"/>
          <a:lstStyle>
            <a:lvl1pPr indent="-206375" marL="206375">
              <a:spcBef>
                <a:spcPts val="600"/>
              </a:spcBef>
              <a:buFont charset="2" pitchFamily="2" typeface="Wingdings"/>
              <a:buChar char="§"/>
              <a:defRPr sz="1600"/>
            </a:lvl1pPr>
            <a:lvl2pPr indent="-227013" marL="434975">
              <a:spcBef>
                <a:spcPts val="600"/>
              </a:spcBef>
              <a:buFont charset="2" pitchFamily="2" typeface="Wingdings"/>
              <a:buChar char="§"/>
              <a:defRPr sz="1600"/>
            </a:lvl2pPr>
            <a:lvl3pPr indent="-227013" marL="663575">
              <a:spcBef>
                <a:spcPts val="600"/>
              </a:spcBef>
              <a:buFont charset="2" pitchFamily="2" typeface="Wingdings"/>
              <a:buChar char="§"/>
              <a:defRPr sz="1400"/>
            </a:lvl3pPr>
            <a:lvl4pPr indent="-238125" marL="903288">
              <a:spcBef>
                <a:spcPts val="600"/>
              </a:spcBef>
              <a:buFont charset="2" pitchFamily="2" typeface="Wingdings"/>
              <a:buChar char="§"/>
              <a:defRPr sz="1400"/>
            </a:lvl4pPr>
            <a:lvl5pPr indent="-204788" marL="1109663">
              <a:spcBef>
                <a:spcPts val="600"/>
              </a:spcBef>
              <a:buFont charset="2" pitchFamily="2" typeface="Wingdings"/>
              <a:buChar char="§"/>
              <a:defRPr sz="1400"/>
            </a:lvl5pPr>
          </a:lstStyle>
          <a:p>
            <a:pPr lvl="0"/>
            <a:r>
              <a:rPr dirty="0" lang="en-US" smtClean="0"/>
              <a:t>Click to edit Master text styles</a:t>
            </a:r>
          </a:p>
          <a:p>
            <a:pPr lvl="1"/>
            <a:r>
              <a:rPr dirty="0" lang="en-US" smtClean="0"/>
              <a:t>Second level</a:t>
            </a:r>
          </a:p>
          <a:p>
            <a:pPr lvl="2"/>
            <a:r>
              <a:rPr dirty="0" lang="en-US" smtClean="0"/>
              <a:t>Third level</a:t>
            </a:r>
          </a:p>
          <a:p>
            <a:pPr lvl="3"/>
            <a:r>
              <a:rPr dirty="0" lang="en-US" smtClean="0"/>
              <a:t>Fourth level</a:t>
            </a:r>
          </a:p>
          <a:p>
            <a:pPr lvl="4"/>
            <a:r>
              <a:rPr dirty="0" lang="en-US" smtClean="0"/>
              <a:t>Fifth level</a:t>
            </a:r>
            <a:endParaRPr dirty="0" lang="de-DE"/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auto" rtl="0">
              <a:spcBef>
                <a:spcPts val="0"/>
              </a:spcBef>
              <a:spcAft>
                <a:spcPts val="0"/>
              </a:spcAft>
              <a:defRPr b="1" kern="1200" sz="9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/>
              <a:pPr>
                <a:defRPr/>
              </a:pPr>
              <a:t>‹#›</a:t>
            </a:fld>
            <a:endParaRPr dirty="0" lang="de-DE"/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base" rtl="0">
              <a:spcBef>
                <a:spcPct val="0"/>
              </a:spcBef>
              <a:spcAft>
                <a:spcPct val="0"/>
              </a:spcAft>
              <a:defRPr kern="1200" sz="800">
                <a:solidFill>
                  <a:srgbClr val="00509C"/>
                </a:solidFill>
                <a:latin charset="0" typeface="Arial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dirty="0" lang="de-DE" smtClean="0"/>
              <a:t>China Steering Committee</a:t>
            </a:r>
            <a:endParaRPr dirty="0" lang="en-US" smtClean="0"/>
          </a:p>
        </p:txBody>
      </p:sp>
    </p:spTree>
    <p:extLst>
      <p:ext uri="{BB962C8B-B14F-4D97-AF65-F5344CB8AC3E}">
        <p14:creationId xmlns:p14="http://schemas.microsoft.com/office/powerpoint/2010/main" val="243368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dur="indefinite" id="1" nodeType="tmRoot" restart="never"/>
      </p:par>
    </p:tnLst>
  </p:timing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" name="Object 45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650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4" spid="_x0000_s1945680">
                  <p:embed/>
                </p:oleObj>
              </mc:Choice>
              <mc:Fallback>
                <p:oleObj imgH="360" imgW="360" name="think-cell Slide" progId="TCLayout.ActiveDocument.1" r:id="rId4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Logo_Blickwinkel_xtraS" id="4" name="Picture 2"/>
          <p:cNvPicPr>
            <a:picLocks noChangeArrowheads="1" noChangeAspect="1"/>
          </p:cNvPicPr>
          <p:nvPr/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descr="Logo_Blickwinkel Kopie.png" id="6" name="Bild 2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7" name="Bild 2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8" name="Bild 2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0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</p:grpSp>
      <p:pic>
        <p:nvPicPr>
          <p:cNvPr descr="FMC-Logo-2009_blue" id="12" name="Picture 8"/>
          <p:cNvPicPr>
            <a:picLocks noChangeArrowheads="1"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wrap="none"/>
          <a:lstStyle/>
          <a:p>
            <a:endParaRPr dirty="0" lang="en-US" smtClean="0">
              <a:solidFill>
                <a:srgbClr val="00509C"/>
              </a:solidFill>
              <a:latin charset="0" pitchFamily="34" typeface="Calibri"/>
              <a:cs charset="0" pitchFamily="34"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en-US" smtClean="0"/>
              <a:t>Click to edit Master title style</a:t>
            </a:r>
            <a:endParaRPr dirty="0" lang="de-DE"/>
          </a:p>
        </p:txBody>
      </p:sp>
      <p:sp>
        <p:nvSpPr>
          <p:cNvPr id="16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auto" rtl="0">
              <a:spcBef>
                <a:spcPts val="0"/>
              </a:spcBef>
              <a:spcAft>
                <a:spcPts val="0"/>
              </a:spcAft>
              <a:defRPr b="1" kern="1200" sz="9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/>
              <a:pPr>
                <a:defRPr/>
              </a:pPr>
              <a:t>‹#›</a:t>
            </a:fld>
            <a:endParaRPr dirty="0" lang="de-DE"/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base" rtl="0">
              <a:spcBef>
                <a:spcPct val="0"/>
              </a:spcBef>
              <a:spcAft>
                <a:spcPct val="0"/>
              </a:spcAft>
              <a:defRPr kern="1200" sz="800">
                <a:solidFill>
                  <a:srgbClr val="00509C"/>
                </a:solidFill>
                <a:latin charset="0" typeface="Arial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dirty="0" lang="de-DE" smtClean="0"/>
              <a:t>China Steering Committee</a:t>
            </a:r>
            <a:endParaRPr dirty="0" lang="en-US" smtClean="0"/>
          </a:p>
        </p:txBody>
      </p:sp>
    </p:spTree>
    <p:extLst>
      <p:ext uri="{BB962C8B-B14F-4D97-AF65-F5344CB8AC3E}">
        <p14:creationId xmlns:p14="http://schemas.microsoft.com/office/powerpoint/2010/main" val="223800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dur="indefinite" id="1" nodeType="tmRoot" restart="never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4.v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074" name="Object 4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64296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7" spid="_x0000_s1862111">
                  <p:embed/>
                </p:oleObj>
              </mc:Choice>
              <mc:Fallback>
                <p:oleObj imgH="360" imgW="360" name="think-cell Slide" progId="TCLayout.ActiveDocument.1" r:id="rId7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Logo_Blickwinkel_xtraS" id="3075" name="Picture 2"/>
          <p:cNvPicPr>
            <a:picLocks noChangeArrowheads="1" noChangeAspect="1"/>
          </p:cNvPicPr>
          <p:nvPr/>
        </p:nvPicPr>
        <p:blipFill>
          <a:blip cstate="print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descr="Logo_Blickwinkel Kopie.png" id="3086" name="Bild 2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3087" name="Bild 2"/>
            <p:cNvPicPr>
              <a:picLocks noChangeAspect="1"/>
            </p:cNvPicPr>
            <p:nvPr userDrawn="1"/>
          </p:nvPicPr>
          <p:blipFill>
            <a:blip r:embed="rId11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3088" name="Bild 2"/>
            <p:cNvPicPr>
              <a:picLocks noChangeAspect="1"/>
            </p:cNvPicPr>
            <p:nvPr userDrawn="1"/>
          </p:nvPicPr>
          <p:blipFill>
            <a:blip r:embed="rId12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7" name="Rectangle 7"/>
          <p:cNvSpPr>
            <a:spLocks noChangeArrowheads="1" noGrp="1"/>
          </p:cNvSpPr>
          <p:nvPr>
            <p:ph type="title"/>
          </p:nvPr>
        </p:nvSpPr>
        <p:spPr bwMode="auto">
          <a:xfrm>
            <a:off x="395288" y="158750"/>
            <a:ext cx="83454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 bIns="45720" compatLnSpc="1" lIns="0" numCol="1" rIns="91440" tIns="45720" vert="horz" wrap="square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8" name="Rectangle 11"/>
          <p:cNvSpPr>
            <a:spLocks noChangeArrowheads="1" noGrp="1"/>
          </p:cNvSpPr>
          <p:nvPr>
            <p:ph idx="1" type="body"/>
          </p:nvPr>
        </p:nvSpPr>
        <p:spPr bwMode="auto">
          <a:xfrm>
            <a:off x="407988" y="1335088"/>
            <a:ext cx="8332787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 bIns="45720" compatLnSpc="1" lIns="54000" numCol="1" rIns="91440" tIns="45720" vert="horz" wrap="square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grpSp>
        <p:nvGrpSpPr>
          <p:cNvPr id="307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3084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  <p:sp>
          <p:nvSpPr>
            <p:cNvPr id="3085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</p:grpSp>
      <p:pic>
        <p:nvPicPr>
          <p:cNvPr descr="FMC-Logo-2009_blue" id="3080" name="Picture 8"/>
          <p:cNvPicPr>
            <a:picLocks noChangeArrowheads="1"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wrap="none"/>
          <a:lstStyle/>
          <a:p>
            <a:endParaRPr dirty="0" lang="en-US" smtClean="0">
              <a:solidFill>
                <a:srgbClr val="00509C"/>
              </a:solidFill>
              <a:latin charset="0" pitchFamily="34" typeface="Calibri"/>
              <a:cs charset="0" pitchFamily="34" typeface="Arial"/>
            </a:endParaRPr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auto" rtl="0">
              <a:spcBef>
                <a:spcPts val="0"/>
              </a:spcBef>
              <a:spcAft>
                <a:spcPts val="0"/>
              </a:spcAft>
              <a:defRPr b="1" kern="1200" sz="9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>
                <a:latin typeface="Calibri"/>
              </a:rPr>
              <a:pPr>
                <a:defRPr/>
              </a:pPr>
              <a:t>‹#›</a:t>
            </a:fld>
            <a:endParaRPr dirty="0" lang="de-DE">
              <a:latin typeface="Calibri"/>
            </a:endParaRPr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base" rtl="0">
              <a:spcBef>
                <a:spcPct val="0"/>
              </a:spcBef>
              <a:spcAft>
                <a:spcPct val="0"/>
              </a:spcAft>
              <a:defRPr kern="1200" sz="800">
                <a:solidFill>
                  <a:srgbClr val="00509C"/>
                </a:solidFill>
                <a:latin charset="0" typeface="Arial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 algn="r" defTabSz="914400" eaLnBrk="1" fontAlgn="base" hangingPunct="1" indent="0" latinLnBrk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b="0" dirty="0" lang="de-DE" smtClean="0"/>
              <a:t>China Steering Committee</a:t>
            </a:r>
            <a:endParaRPr b="0" dirty="0" lang="en-US" smtClean="0"/>
          </a:p>
        </p:txBody>
      </p:sp>
    </p:spTree>
    <p:extLst>
      <p:ext uri="{BB962C8B-B14F-4D97-AF65-F5344CB8AC3E}">
        <p14:creationId xmlns:p14="http://schemas.microsoft.com/office/powerpoint/2010/main" val="10483528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4964" r:id="rId1"/>
    <p:sldLayoutId id="2147484965" r:id="rId2"/>
    <p:sldLayoutId id="2147484966" r:id="rId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dur="indefinite" id="1" nodeType="tmRoot" restart="never"/>
      </p:par>
    </p:tnLst>
  </p:timing>
  <p:hf dt="0" hdr="0"/>
  <p:txStyles>
    <p:titleStyle>
      <a:lvl1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pitchFamily="34" typeface="Arial"/>
          <a:ea typeface="+mj-ea"/>
          <a:cs charset="0" pitchFamily="34" typeface="Arial"/>
        </a:defRPr>
      </a:lvl1pPr>
      <a:lvl2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2pPr>
      <a:lvl3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3pPr>
      <a:lvl4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4pPr>
      <a:lvl5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5pPr>
      <a:lvl6pPr algn="l" fontAlgn="base" marL="4572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6pPr>
      <a:lvl7pPr algn="l" fontAlgn="base" marL="9144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7pPr>
      <a:lvl8pPr algn="l" fontAlgn="base" marL="13716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8pPr>
      <a:lvl9pPr algn="l" fontAlgn="base" marL="18288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9pPr>
    </p:titleStyle>
    <p:bodyStyle>
      <a:lvl1pPr algn="l" eaLnBrk="0" fontAlgn="base" hangingPunct="0" indent="-206375" marL="206375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600">
          <a:solidFill>
            <a:schemeClr val="tx1"/>
          </a:solidFill>
          <a:latin charset="0" pitchFamily="34" typeface="Arial"/>
          <a:ea typeface="+mn-ea"/>
          <a:cs charset="0" pitchFamily="34" typeface="Arial"/>
        </a:defRPr>
      </a:lvl1pPr>
      <a:lvl2pPr algn="l" eaLnBrk="0" fontAlgn="base" hangingPunct="0" indent="-227013" marL="434975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600">
          <a:solidFill>
            <a:schemeClr val="tx1"/>
          </a:solidFill>
          <a:latin charset="0" pitchFamily="34" typeface="Arial"/>
          <a:cs charset="0" pitchFamily="34" typeface="Arial"/>
        </a:defRPr>
      </a:lvl2pPr>
      <a:lvl3pPr algn="l" eaLnBrk="0" fontAlgn="base" hangingPunct="0" indent="-227013" marL="663575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400">
          <a:solidFill>
            <a:schemeClr val="tx1"/>
          </a:solidFill>
          <a:latin charset="0" pitchFamily="34" typeface="Arial"/>
          <a:cs charset="0" pitchFamily="34" typeface="Arial"/>
        </a:defRPr>
      </a:lvl3pPr>
      <a:lvl4pPr algn="l" eaLnBrk="0" fontAlgn="base" hangingPunct="0" indent="-238125" marL="903288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400">
          <a:solidFill>
            <a:schemeClr val="tx1"/>
          </a:solidFill>
          <a:latin charset="0" pitchFamily="34" typeface="Arial"/>
          <a:cs charset="0" pitchFamily="34" typeface="Arial"/>
        </a:defRPr>
      </a:lvl4pPr>
      <a:lvl5pPr algn="l" eaLnBrk="0" fontAlgn="base" hangingPunct="0" indent="-204788" marL="1109663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400">
          <a:solidFill>
            <a:schemeClr val="tx1"/>
          </a:solidFill>
          <a:latin charset="0" pitchFamily="34" typeface="Arial"/>
          <a:cs charset="0" pitchFamily="34" typeface="Arial"/>
        </a:defRPr>
      </a:lvl5pPr>
      <a:lvl6pPr algn="l" fontAlgn="base" indent="-204788" marL="15668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6pPr>
      <a:lvl7pPr algn="l" fontAlgn="base" indent="-204788" marL="20240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7pPr>
      <a:lvl8pPr algn="l" fontAlgn="base" indent="-204788" marL="24812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8pPr>
      <a:lvl9pPr algn="l" fontAlgn="base" indent="-204788" marL="29384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algn="l" defTabSz="914400" eaLnBrk="1" hangingPunct="1" latinLnBrk="0" marL="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eaLnBrk="1" hangingPunct="1" latinLnBrk="0" marL="4572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eaLnBrk="1" hangingPunct="1" latinLnBrk="0" marL="9144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3pPr>
      <a:lvl4pPr algn="l" defTabSz="914400" eaLnBrk="1" hangingPunct="1" latinLnBrk="0" marL="13716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eaLnBrk="1" hangingPunct="1" latinLnBrk="0" marL="18288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eaLnBrk="1" hangingPunct="1" latinLnBrk="0" marL="22860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eaLnBrk="1" hangingPunct="1" latinLnBrk="0" marL="27432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eaLnBrk="1" hangingPunct="1" latinLnBrk="0" marL="32004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eaLnBrk="1" hangingPunct="1" latinLnBrk="0" marL="36576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074" name="Object 4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128098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7" spid="_x0000_s1943632">
                  <p:embed/>
                </p:oleObj>
              </mc:Choice>
              <mc:Fallback>
                <p:oleObj imgH="360" imgW="360" name="think-cell Slide" progId="TCLayout.ActiveDocument.1" r:id="rId7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Logo_Blickwinkel_xtraS" id="3075" name="Picture 2"/>
          <p:cNvPicPr>
            <a:picLocks noChangeArrowheads="1" noChangeAspect="1"/>
          </p:cNvPicPr>
          <p:nvPr/>
        </p:nvPicPr>
        <p:blipFill>
          <a:blip cstate="print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descr="Logo_Blickwinkel Kopie.png" id="3086" name="Bild 2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3087" name="Bild 2"/>
            <p:cNvPicPr>
              <a:picLocks noChangeAspect="1"/>
            </p:cNvPicPr>
            <p:nvPr userDrawn="1"/>
          </p:nvPicPr>
          <p:blipFill>
            <a:blip r:embed="rId11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descr="Logo_Blickwinkel Kopie.png" id="3088" name="Bild 2"/>
            <p:cNvPicPr>
              <a:picLocks noChangeAspect="1"/>
            </p:cNvPicPr>
            <p:nvPr userDrawn="1"/>
          </p:nvPicPr>
          <p:blipFill>
            <a:blip r:embed="rId12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7" name="Rectangle 7"/>
          <p:cNvSpPr>
            <a:spLocks noChangeArrowheads="1" noGrp="1"/>
          </p:cNvSpPr>
          <p:nvPr>
            <p:ph type="title"/>
          </p:nvPr>
        </p:nvSpPr>
        <p:spPr bwMode="auto">
          <a:xfrm>
            <a:off x="395288" y="158750"/>
            <a:ext cx="83454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 bIns="45720" compatLnSpc="1" lIns="0" numCol="1" rIns="91440" tIns="45720" vert="horz" wrap="square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8" name="Rectangle 11"/>
          <p:cNvSpPr>
            <a:spLocks noChangeArrowheads="1" noGrp="1"/>
          </p:cNvSpPr>
          <p:nvPr>
            <p:ph idx="1" type="body"/>
          </p:nvPr>
        </p:nvSpPr>
        <p:spPr bwMode="auto">
          <a:xfrm>
            <a:off x="407988" y="1335088"/>
            <a:ext cx="8332787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 bIns="45720" compatLnSpc="1" lIns="54000" numCol="1" rIns="91440" tIns="45720" vert="horz" wrap="square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grpSp>
        <p:nvGrpSpPr>
          <p:cNvPr id="307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3084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  <p:sp>
          <p:nvSpPr>
            <p:cNvPr id="3085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none"/>
            <a:lstStyle/>
            <a:p>
              <a:endParaRPr lang="de-DE" smtClean="0">
                <a:solidFill>
                  <a:srgbClr val="000000"/>
                </a:solidFill>
                <a:latin charset="0" pitchFamily="34" typeface="Arial"/>
                <a:cs charset="0" pitchFamily="34" typeface="Arial"/>
              </a:endParaRPr>
            </a:p>
          </p:txBody>
        </p:sp>
      </p:grpSp>
      <p:pic>
        <p:nvPicPr>
          <p:cNvPr descr="FMC-Logo-2009_blue" id="3080" name="Picture 8"/>
          <p:cNvPicPr>
            <a:picLocks noChangeArrowheads="1"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wrap="none"/>
          <a:lstStyle/>
          <a:p>
            <a:endParaRPr dirty="0" lang="en-US" smtClean="0">
              <a:solidFill>
                <a:srgbClr val="00509C"/>
              </a:solidFill>
              <a:latin charset="0" pitchFamily="34" typeface="Calibri"/>
              <a:cs charset="0" pitchFamily="34" typeface="Arial"/>
            </a:endParaRPr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auto" rtl="0">
              <a:spcBef>
                <a:spcPts val="0"/>
              </a:spcBef>
              <a:spcAft>
                <a:spcPts val="0"/>
              </a:spcAft>
              <a:defRPr b="1" kern="1200" sz="9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/>
              <a:pPr>
                <a:defRPr/>
              </a:pPr>
              <a:t>‹#›</a:t>
            </a:fld>
            <a:endParaRPr dirty="0" lang="de-DE"/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anchor="ctr" bIns="45720" lIns="0" rIns="0" rtlCol="0" tIns="45720" vert="horz"/>
          <a:lstStyle>
            <a:defPPr>
              <a:defRPr lang="de-DE"/>
            </a:defPPr>
            <a:lvl1pPr algn="r" fontAlgn="base" rtl="0">
              <a:spcBef>
                <a:spcPct val="0"/>
              </a:spcBef>
              <a:spcAft>
                <a:spcPct val="0"/>
              </a:spcAft>
              <a:defRPr kern="1200" sz="800">
                <a:solidFill>
                  <a:srgbClr val="00509C"/>
                </a:solidFill>
                <a:latin charset="0" typeface="Arial"/>
                <a:ea typeface="+mn-ea"/>
                <a:cs typeface="+mn-cs"/>
              </a:defRPr>
            </a:lvl1pPr>
            <a:lvl2pPr algn="l" fontAlgn="base" marL="4572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2pPr>
            <a:lvl3pPr algn="l" fontAlgn="base" marL="9144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3pPr>
            <a:lvl4pPr algn="l" fontAlgn="base" marL="13716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4pPr>
            <a:lvl5pPr algn="l" fontAlgn="base" marL="1828800" rtl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>
                <a:solidFill>
                  <a:schemeClr val="tx1"/>
                </a:solidFill>
                <a:latin charset="0" typeface="Arial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dirty="0" lang="de-DE" smtClean="0"/>
              <a:t>China Steering Committee</a:t>
            </a:r>
            <a:endParaRPr dirty="0" lang="en-US" smtClean="0"/>
          </a:p>
        </p:txBody>
      </p:sp>
    </p:spTree>
    <p:extLst>
      <p:ext uri="{BB962C8B-B14F-4D97-AF65-F5344CB8AC3E}">
        <p14:creationId xmlns:p14="http://schemas.microsoft.com/office/powerpoint/2010/main" val="331598800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4968" r:id="rId1"/>
    <p:sldLayoutId id="2147484969" r:id="rId2"/>
    <p:sldLayoutId id="2147484970" r:id="rId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dur="indefinite" id="1" nodeType="tmRoot" restart="never"/>
      </p:par>
    </p:tnLst>
  </p:timing>
  <p:hf dt="0" hdr="0"/>
  <p:txStyles>
    <p:titleStyle>
      <a:lvl1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pitchFamily="34" typeface="Arial"/>
          <a:ea typeface="+mj-ea"/>
          <a:cs charset="0" pitchFamily="34" typeface="Arial"/>
        </a:defRPr>
      </a:lvl1pPr>
      <a:lvl2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2pPr>
      <a:lvl3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3pPr>
      <a:lvl4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4pPr>
      <a:lvl5pPr algn="l" eaLnBrk="0" fontAlgn="base" hangingPunct="0" rtl="0">
        <a:spcBef>
          <a:spcPct val="0"/>
        </a:spcBef>
        <a:spcAft>
          <a:spcPct val="0"/>
        </a:spcAft>
        <a:defRPr b="1" sz="2400">
          <a:solidFill>
            <a:schemeClr val="tx1"/>
          </a:solidFill>
          <a:latin charset="0" typeface="Arial"/>
          <a:cs charset="0" pitchFamily="34" typeface="Arial"/>
        </a:defRPr>
      </a:lvl5pPr>
      <a:lvl6pPr algn="l" fontAlgn="base" marL="4572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6pPr>
      <a:lvl7pPr algn="l" fontAlgn="base" marL="9144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7pPr>
      <a:lvl8pPr algn="l" fontAlgn="base" marL="13716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8pPr>
      <a:lvl9pPr algn="l" fontAlgn="base" marL="1828800" rtl="0">
        <a:spcBef>
          <a:spcPct val="0"/>
        </a:spcBef>
        <a:spcAft>
          <a:spcPct val="0"/>
        </a:spcAft>
        <a:defRPr b="1" sz="2200">
          <a:solidFill>
            <a:schemeClr val="accent1"/>
          </a:solidFill>
          <a:latin charset="0" typeface="Arial"/>
        </a:defRPr>
      </a:lvl9pPr>
    </p:titleStyle>
    <p:bodyStyle>
      <a:lvl1pPr algn="l" eaLnBrk="0" fontAlgn="base" hangingPunct="0" indent="-206375" marL="206375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600">
          <a:solidFill>
            <a:schemeClr val="tx1"/>
          </a:solidFill>
          <a:latin charset="0" pitchFamily="34" typeface="Arial"/>
          <a:ea typeface="+mn-ea"/>
          <a:cs charset="0" pitchFamily="34" typeface="Arial"/>
        </a:defRPr>
      </a:lvl1pPr>
      <a:lvl2pPr algn="l" eaLnBrk="0" fontAlgn="base" hangingPunct="0" indent="-227013" marL="434975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600">
          <a:solidFill>
            <a:schemeClr val="tx1"/>
          </a:solidFill>
          <a:latin charset="0" pitchFamily="34" typeface="Arial"/>
          <a:cs charset="0" pitchFamily="34" typeface="Arial"/>
        </a:defRPr>
      </a:lvl2pPr>
      <a:lvl3pPr algn="l" eaLnBrk="0" fontAlgn="base" hangingPunct="0" indent="-227013" marL="663575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400">
          <a:solidFill>
            <a:schemeClr val="tx1"/>
          </a:solidFill>
          <a:latin charset="0" pitchFamily="34" typeface="Arial"/>
          <a:cs charset="0" pitchFamily="34" typeface="Arial"/>
        </a:defRPr>
      </a:lvl3pPr>
      <a:lvl4pPr algn="l" eaLnBrk="0" fontAlgn="base" hangingPunct="0" indent="-238125" marL="903288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400">
          <a:solidFill>
            <a:schemeClr val="tx1"/>
          </a:solidFill>
          <a:latin charset="0" pitchFamily="34" typeface="Arial"/>
          <a:cs charset="0" pitchFamily="34" typeface="Arial"/>
        </a:defRPr>
      </a:lvl4pPr>
      <a:lvl5pPr algn="l" eaLnBrk="0" fontAlgn="base" hangingPunct="0" indent="-204788" marL="1109663" rtl="0">
        <a:spcBef>
          <a:spcPts val="600"/>
        </a:spcBef>
        <a:spcAft>
          <a:spcPct val="0"/>
        </a:spcAft>
        <a:buClr>
          <a:schemeClr val="tx1"/>
        </a:buClr>
        <a:buFont charset="2" pitchFamily="2" typeface="Wingdings"/>
        <a:buChar char="§"/>
        <a:defRPr sz="1400">
          <a:solidFill>
            <a:schemeClr val="tx1"/>
          </a:solidFill>
          <a:latin charset="0" pitchFamily="34" typeface="Arial"/>
          <a:cs charset="0" pitchFamily="34" typeface="Arial"/>
        </a:defRPr>
      </a:lvl5pPr>
      <a:lvl6pPr algn="l" fontAlgn="base" indent="-204788" marL="15668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6pPr>
      <a:lvl7pPr algn="l" fontAlgn="base" indent="-204788" marL="20240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7pPr>
      <a:lvl8pPr algn="l" fontAlgn="base" indent="-204788" marL="24812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8pPr>
      <a:lvl9pPr algn="l" fontAlgn="base" indent="-204788" marL="2938463" rtl="0">
        <a:spcBef>
          <a:spcPct val="20000"/>
        </a:spcBef>
        <a:spcAft>
          <a:spcPct val="0"/>
        </a:spcAft>
        <a:buClr>
          <a:schemeClr val="accent1"/>
        </a:buClr>
        <a:buFont charset="0" typeface="Arial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algn="l" defTabSz="914400" eaLnBrk="1" hangingPunct="1" latinLnBrk="0" marL="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eaLnBrk="1" hangingPunct="1" latinLnBrk="0" marL="4572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eaLnBrk="1" hangingPunct="1" latinLnBrk="0" marL="9144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3pPr>
      <a:lvl4pPr algn="l" defTabSz="914400" eaLnBrk="1" hangingPunct="1" latinLnBrk="0" marL="13716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eaLnBrk="1" hangingPunct="1" latinLnBrk="0" marL="18288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eaLnBrk="1" hangingPunct="1" latinLnBrk="0" marL="22860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eaLnBrk="1" hangingPunct="1" latinLnBrk="0" marL="27432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eaLnBrk="1" hangingPunct="1" latinLnBrk="0" marL="32004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eaLnBrk="1" hangingPunct="1" latinLnBrk="0" marL="36576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直接箭头连接符 24"/>
          <p:cNvCxnSpPr/>
          <p:nvPr/>
        </p:nvCxnSpPr>
        <p:spPr>
          <a:xfrm flipH="1">
            <a:off x="5203199" y="2104569"/>
            <a:ext cx="7257" cy="413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肘形连接符 11"/>
          <p:cNvCxnSpPr/>
          <p:nvPr/>
        </p:nvCxnSpPr>
        <p:spPr>
          <a:xfrm rot="10800000" flipH="1">
            <a:off x="4164659" y="1654626"/>
            <a:ext cx="914400" cy="1088572"/>
          </a:xfrm>
          <a:prstGeom prst="bentConnector4">
            <a:avLst>
              <a:gd name="adj1" fmla="val -37239"/>
              <a:gd name="adj2" fmla="val 121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>
          <a:xfrm flipH="1">
            <a:off x="4739118" y="2082801"/>
            <a:ext cx="7257" cy="413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Between HIS and </a:t>
            </a:r>
            <a:r>
              <a:rPr lang="en-US" dirty="0" err="1" smtClean="0"/>
              <a:t>inSITE</a:t>
            </a:r>
            <a:endParaRPr lang="en-US" dirty="0"/>
          </a:p>
        </p:txBody>
      </p:sp>
      <p:sp>
        <p:nvSpPr>
          <p:cNvPr id="6" name="圆角矩形 5"/>
          <p:cNvSpPr/>
          <p:nvPr/>
        </p:nvSpPr>
        <p:spPr>
          <a:xfrm>
            <a:off x="4306169" y="1640114"/>
            <a:ext cx="1814286" cy="44994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HIS 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298912" y="2503714"/>
            <a:ext cx="1814286" cy="44994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>
                <a:solidFill>
                  <a:schemeClr val="tx1"/>
                </a:solidFill>
              </a:rPr>
              <a:t>inSITE</a:t>
            </a:r>
            <a:r>
              <a:rPr lang="en-US" altLang="zh-CN" sz="1600" dirty="0" smtClean="0">
                <a:solidFill>
                  <a:schemeClr val="tx1"/>
                </a:solidFill>
              </a:rPr>
              <a:t> P11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9" name="肘形连接符 8"/>
          <p:cNvCxnSpPr>
            <a:stCxn id="7" idx="1"/>
            <a:endCxn id="6" idx="1"/>
          </p:cNvCxnSpPr>
          <p:nvPr/>
        </p:nvCxnSpPr>
        <p:spPr>
          <a:xfrm rot="10800000" flipH="1">
            <a:off x="4298911" y="1865086"/>
            <a:ext cx="7257" cy="863600"/>
          </a:xfrm>
          <a:prstGeom prst="bentConnector3">
            <a:avLst>
              <a:gd name="adj1" fmla="val -248689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七边形 9"/>
          <p:cNvSpPr/>
          <p:nvPr/>
        </p:nvSpPr>
        <p:spPr>
          <a:xfrm>
            <a:off x="3690758" y="2167785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1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肘形连接符 14"/>
          <p:cNvCxnSpPr>
            <a:stCxn id="6" idx="3"/>
            <a:endCxn id="7" idx="3"/>
          </p:cNvCxnSpPr>
          <p:nvPr/>
        </p:nvCxnSpPr>
        <p:spPr>
          <a:xfrm flipH="1">
            <a:off x="6113198" y="1865086"/>
            <a:ext cx="7257" cy="863600"/>
          </a:xfrm>
          <a:prstGeom prst="bentConnector3">
            <a:avLst>
              <a:gd name="adj1" fmla="val -215531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肘形连接符 16"/>
          <p:cNvCxnSpPr>
            <a:stCxn id="6" idx="3"/>
            <a:endCxn id="7" idx="2"/>
          </p:cNvCxnSpPr>
          <p:nvPr/>
        </p:nvCxnSpPr>
        <p:spPr>
          <a:xfrm flipH="1">
            <a:off x="5206055" y="1865086"/>
            <a:ext cx="914400" cy="1088571"/>
          </a:xfrm>
          <a:prstGeom prst="bentConnector4">
            <a:avLst>
              <a:gd name="adj1" fmla="val -44403"/>
              <a:gd name="adj2" fmla="val 121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七边形 18"/>
          <p:cNvSpPr/>
          <p:nvPr/>
        </p:nvSpPr>
        <p:spPr>
          <a:xfrm>
            <a:off x="3995827" y="2148113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2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1" name="七边形 20"/>
          <p:cNvSpPr/>
          <p:nvPr/>
        </p:nvSpPr>
        <p:spPr>
          <a:xfrm>
            <a:off x="6137838" y="2177144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</a:rPr>
              <a:t>6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" name="七边形 19"/>
          <p:cNvSpPr/>
          <p:nvPr/>
        </p:nvSpPr>
        <p:spPr>
          <a:xfrm>
            <a:off x="4600275" y="2160335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3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4" name="七边形 23"/>
          <p:cNvSpPr/>
          <p:nvPr/>
        </p:nvSpPr>
        <p:spPr>
          <a:xfrm>
            <a:off x="6421248" y="2186880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7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7" name="圆角矩形 26"/>
          <p:cNvSpPr/>
          <p:nvPr/>
        </p:nvSpPr>
        <p:spPr>
          <a:xfrm>
            <a:off x="103120" y="1291772"/>
            <a:ext cx="1748776" cy="224971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1. Material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Maste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Material master </a:t>
            </a:r>
            <a:r>
              <a:rPr lang="en-US" altLang="zh-CN" sz="1200" dirty="0" smtClean="0">
                <a:solidFill>
                  <a:schemeClr val="tx1"/>
                </a:solidFill>
              </a:rPr>
              <a:t>data of inventory-managed items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</a:t>
            </a:r>
            <a:r>
              <a:rPr lang="en-US" altLang="zh-CN" sz="1200" dirty="0" smtClean="0">
                <a:solidFill>
                  <a:schemeClr val="tx1"/>
                </a:solidFill>
              </a:rPr>
              <a:t>daily</a:t>
            </a:r>
            <a:endParaRPr lang="zh-CN" altLang="en-US" sz="1600" b="1" dirty="0" err="1" smtClean="0">
              <a:solidFill>
                <a:schemeClr val="tx1"/>
              </a:solidFill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103122" y="3852182"/>
            <a:ext cx="1990371" cy="245236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4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PO/Return P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PO/Return </a:t>
            </a:r>
            <a:r>
              <a:rPr lang="en-US" altLang="zh-CN" sz="1200" dirty="0" smtClean="0">
                <a:solidFill>
                  <a:schemeClr val="tx1"/>
                </a:solidFill>
              </a:rPr>
              <a:t>PO for FA-managed items and inventory-managed items, and expense-managed items depending on whether it is centrally procured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  <a:endParaRPr lang="zh-CN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29" name="圆角矩形 28"/>
          <p:cNvSpPr/>
          <p:nvPr/>
        </p:nvSpPr>
        <p:spPr>
          <a:xfrm>
            <a:off x="4699865" y="3852180"/>
            <a:ext cx="1926780" cy="24378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6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G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</a:t>
            </a:r>
            <a:r>
              <a:rPr lang="en-US" altLang="zh-CN" sz="1200" dirty="0" smtClean="0">
                <a:solidFill>
                  <a:schemeClr val="tx1"/>
                </a:solidFill>
              </a:rPr>
              <a:t>GR for the PO related items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  <a:endParaRPr lang="zh-CN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6941779" y="3852180"/>
            <a:ext cx="2075728" cy="245236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7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</a:t>
            </a:r>
            <a:r>
              <a:rPr lang="en-US" altLang="zh-CN" sz="1600" b="1" dirty="0">
                <a:solidFill>
                  <a:schemeClr val="tx1"/>
                </a:solidFill>
              </a:rPr>
              <a:t>Inventory Movement (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type and nature)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Inventory normal consumption, stock-take variance, scrape (e.g. due to product expiry) 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</a:t>
            </a:r>
            <a:r>
              <a:rPr lang="en-US" altLang="zh-CN" sz="1200" dirty="0" smtClean="0">
                <a:solidFill>
                  <a:schemeClr val="tx1"/>
                </a:solidFill>
              </a:rPr>
              <a:t>daily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6736369" y="1291770"/>
            <a:ext cx="2281138" cy="22497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3. T2R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Data by Category TBD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Revenue by category, AR by account, Cash collection by payment method, Refund by account, Advance by </a:t>
            </a:r>
            <a:r>
              <a:rPr lang="en-US" altLang="zh-CN" sz="1200" dirty="0" smtClean="0">
                <a:solidFill>
                  <a:schemeClr val="tx1"/>
                </a:solidFill>
              </a:rPr>
              <a:t>account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</a:p>
        </p:txBody>
      </p:sp>
      <p:sp>
        <p:nvSpPr>
          <p:cNvPr id="22" name="七边形 21"/>
          <p:cNvSpPr/>
          <p:nvPr/>
        </p:nvSpPr>
        <p:spPr>
          <a:xfrm>
            <a:off x="5086514" y="2167786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4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6" name="直接箭头连接符 25"/>
          <p:cNvCxnSpPr/>
          <p:nvPr/>
        </p:nvCxnSpPr>
        <p:spPr>
          <a:xfrm flipH="1">
            <a:off x="5680653" y="2090057"/>
            <a:ext cx="7257" cy="413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七边形 31"/>
          <p:cNvSpPr/>
          <p:nvPr/>
        </p:nvSpPr>
        <p:spPr>
          <a:xfrm>
            <a:off x="5552123" y="2160717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5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1967053" y="1299028"/>
            <a:ext cx="1703957" cy="224971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2. Vendor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Maste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</a:t>
            </a:r>
            <a:r>
              <a:rPr lang="en-US" altLang="zh-CN" sz="1200" dirty="0" smtClean="0">
                <a:solidFill>
                  <a:schemeClr val="tx1"/>
                </a:solidFill>
              </a:rPr>
              <a:t>: Vendor master data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</a:t>
            </a:r>
            <a:r>
              <a:rPr lang="en-US" altLang="zh-CN" sz="1200" dirty="0" smtClean="0">
                <a:solidFill>
                  <a:schemeClr val="tx1"/>
                </a:solidFill>
              </a:rPr>
              <a:t>daily</a:t>
            </a:r>
            <a:endParaRPr lang="zh-CN" altLang="en-US" sz="1600" b="1" dirty="0" err="1" smtClean="0">
              <a:solidFill>
                <a:schemeClr val="tx1"/>
              </a:solidFill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2454734" y="3866695"/>
            <a:ext cx="1926780" cy="24378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5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P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R</a:t>
            </a:r>
            <a:endParaRPr lang="en-US" altLang="zh-CN" sz="1600" b="1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</a:t>
            </a:r>
            <a:r>
              <a:rPr lang="en-US" altLang="zh-CN" sz="1200" dirty="0" smtClean="0">
                <a:solidFill>
                  <a:schemeClr val="tx1"/>
                </a:solidFill>
              </a:rPr>
              <a:t>PR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  <a:endParaRPr lang="zh-CN" altLang="en-US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1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7&quot;&gt;&lt;elem m_fUsage=&quot;3.97852344156448320000E+000&quot;&gt;&lt;m_msothmcolidx val=&quot;0&quot;/&gt;&lt;m_rgb r=&quot;EF&quot; g=&quot;D0&quot; b=&quot;81&quot;/&gt;&lt;m_nBrightness val=&quot;0&quot;/&gt;&lt;/elem&gt;&lt;elem m_fUsage=&quot;1.89999999999999990000E+000&quot;&gt;&lt;m_msothmcolidx val=&quot;0&quot;/&gt;&lt;m_rgb r=&quot;63&quot; g=&quot;B7&quot; b=&quot;46&quot;/&gt;&lt;m_nBrightness val=&quot;0&quot;/&gt;&lt;/elem&gt;&lt;elem m_fUsage=&quot;1.41017679837624280000E+000&quot;&gt;&lt;m_msothmcolidx val=&quot;0&quot;/&gt;&lt;m_rgb r=&quot;C3&quot; g=&quot;0C&quot; b=&quot;41&quot;/&gt;&lt;m_nBrightness val=&quot;0&quot;/&gt;&lt;/elem&gt;&lt;elem m_fUsage=&quot;1.10831183203318600000E+000&quot;&gt;&lt;m_msothmcolidx val=&quot;0&quot;/&gt;&lt;m_rgb r=&quot;14&quot; g=&quot;96&quot; b=&quot;1B&quot;/&gt;&lt;m_nBrightness val=&quot;0&quot;/&gt;&lt;/elem&gt;&lt;elem m_fUsage=&quot;5.65552381767299380000E-001&quot;&gt;&lt;m_msothmcolidx val=&quot;0&quot;/&gt;&lt;m_rgb r=&quot;FF&quot; g=&quot;CF&quot; b=&quot;75&quot;/&gt;&lt;m_nBrightness val=&quot;0&quot;/&gt;&lt;/elem&gt;&lt;elem m_fUsage=&quot;5.57964967976498970000E-001&quot;&gt;&lt;m_msothmcolidx val=&quot;0&quot;/&gt;&lt;m_rgb r=&quot;FE&quot; g=&quot;8B&quot; b=&quot;7A&quot;/&gt;&lt;m_nBrightness val=&quot;0&quot;/&gt;&lt;/elem&gt;&lt;elem m_fUsage=&quot;2.54186582832900130000E-001&quot;&gt;&lt;m_msothmcolidx val=&quot;0&quot;/&gt;&lt;m_rgb r=&quot;FF&quot; g=&quot;FF&quot; b=&quot;9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inSITE">
  <a:themeElements>
    <a:clrScheme name="Benutzerdefiniert 3">
      <a:dk1>
        <a:srgbClr val="00509C"/>
      </a:dk1>
      <a:lt1>
        <a:srgbClr val="FFFFFF"/>
      </a:lt1>
      <a:dk2>
        <a:srgbClr val="00509C"/>
      </a:dk2>
      <a:lt2>
        <a:srgbClr val="FFC000"/>
      </a:lt2>
      <a:accent1>
        <a:srgbClr val="00509C"/>
      </a:accent1>
      <a:accent2>
        <a:srgbClr val="3F80BD"/>
      </a:accent2>
      <a:accent3>
        <a:srgbClr val="94BADE"/>
      </a:accent3>
      <a:accent4>
        <a:srgbClr val="009C2D"/>
      </a:accent4>
      <a:accent5>
        <a:srgbClr val="9C0012"/>
      </a:accent5>
      <a:accent6>
        <a:srgbClr val="94BADE"/>
      </a:accent6>
      <a:hlink>
        <a:srgbClr val="00509C"/>
      </a:hlink>
      <a:folHlink>
        <a:srgbClr val="0050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600" dirty="0" err="1" smtClean="0"/>
        </a:defPPr>
      </a:lstStyle>
    </a:txDef>
  </a:objectDefaults>
  <a:extraClrSchemeLst>
    <a:extraClrScheme>
      <a:clrScheme name="110216 template cordiax v01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4">
        <a:dk1>
          <a:srgbClr val="000000"/>
        </a:dk1>
        <a:lt1>
          <a:srgbClr val="FFFFFF"/>
        </a:lt1>
        <a:dk2>
          <a:srgbClr val="333399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5">
        <a:dk1>
          <a:srgbClr val="000000"/>
        </a:dk1>
        <a:lt1>
          <a:srgbClr val="FFFFFF"/>
        </a:lt1>
        <a:dk2>
          <a:srgbClr val="DDDDDD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inSITE">
  <a:themeElements>
    <a:clrScheme name="Benutzerdefiniert 3">
      <a:dk1>
        <a:srgbClr val="00509C"/>
      </a:dk1>
      <a:lt1>
        <a:srgbClr val="FFFFFF"/>
      </a:lt1>
      <a:dk2>
        <a:srgbClr val="00509C"/>
      </a:dk2>
      <a:lt2>
        <a:srgbClr val="FFC000"/>
      </a:lt2>
      <a:accent1>
        <a:srgbClr val="00509C"/>
      </a:accent1>
      <a:accent2>
        <a:srgbClr val="3F80BD"/>
      </a:accent2>
      <a:accent3>
        <a:srgbClr val="94BADE"/>
      </a:accent3>
      <a:accent4>
        <a:srgbClr val="009C2D"/>
      </a:accent4>
      <a:accent5>
        <a:srgbClr val="9C0012"/>
      </a:accent5>
      <a:accent6>
        <a:srgbClr val="94BADE"/>
      </a:accent6>
      <a:hlink>
        <a:srgbClr val="00509C"/>
      </a:hlink>
      <a:folHlink>
        <a:srgbClr val="0050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600" dirty="0" err="1" smtClean="0"/>
        </a:defPPr>
      </a:lstStyle>
    </a:txDef>
  </a:objectDefaults>
  <a:extraClrSchemeLst>
    <a:extraClrScheme>
      <a:clrScheme name="110216 template cordiax v01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4">
        <a:dk1>
          <a:srgbClr val="000000"/>
        </a:dk1>
        <a:lt1>
          <a:srgbClr val="FFFFFF"/>
        </a:lt1>
        <a:dk2>
          <a:srgbClr val="333399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5">
        <a:dk1>
          <a:srgbClr val="000000"/>
        </a:dk1>
        <a:lt1>
          <a:srgbClr val="FFFFFF"/>
        </a:lt1>
        <a:dk2>
          <a:srgbClr val="DDDDDD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CE32368D907D4096A7240138FADCF5" ma:contentTypeVersion="0" ma:contentTypeDescription="Create a new document." ma:contentTypeScope="" ma:versionID="9c4ef0b1b52ed11363f3417c6be173ec">
  <xsd:schema xmlns:xsd="http://www.w3.org/2001/XMLSchema" xmlns:xs="http://www.w3.org/2001/XMLSchema" xmlns:p="http://schemas.microsoft.com/office/2006/metadata/properties" xmlns:ns2="abaa237c-9fb7-49aa-ad67-af8d736e427b" targetNamespace="http://schemas.microsoft.com/office/2006/metadata/properties" ma:root="true" ma:fieldsID="28ea620431dbd4e669ba2b9c6101a753" ns2:_="">
    <xsd:import namespace="abaa237c-9fb7-49aa-ad67-af8d736e427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aa237c-9fb7-49aa-ad67-af8d736e427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Ite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baa237c-9fb7-49aa-ad67-af8d736e427b">F6EC3H4XTSDF-517-1195</_dlc_DocId>
    <_dlc_DocIdUrl xmlns="abaa237c-9fb7-49aa-ad67-af8d736e427b">
      <Url>https://insite.fresenius.de/projects/insite/CHINA-Deployment/_layouts/DocIdRedir.aspx?ID=F6EC3H4XTSDF-517-1195</Url>
      <Description>F6EC3H4XTSDF-517-1195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Application xmlns="http://www.sap.com/cof/powerpoint/application">
  <Version>2</Version>
  <Revision>2.2.3.56890</Revision>
</Application>
</file>

<file path=customXml/item6.xml><?xml version="1.0" encoding="utf-8"?>
<Application xmlns="http://www.sap.com/cof/ao/powerpoint/application">
  <com.sap.ip.bi.pioneer>
    <Version>4</Version>
    <AAO_Revision>2.2.3.56890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Items/>
  </com.sap.ip.bi.pioneer>
</Application>
</file>

<file path=customXml/itemProps1.xml><?xml version="1.0" encoding="utf-8"?>
<ds:datastoreItem xmlns:ds="http://schemas.openxmlformats.org/officeDocument/2006/customXml" ds:itemID="{1BD9D017-53B5-4B3C-868D-55092F5904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aa237c-9fb7-49aa-ad67-af8d736e42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AC0558-22BF-44F5-90C1-A7CFE15D8A59}">
  <ds:schemaRefs>
    <ds:schemaRef ds:uri="http://purl.org/dc/dcmitype/"/>
    <ds:schemaRef ds:uri="abaa237c-9fb7-49aa-ad67-af8d736e427b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25958EE-A98F-44B5-AAA8-B47DEBE88D3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D0FB2B8C-E6EC-4769-8295-DB36F50C1ABC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1FAE27A-2E55-48D0-90ED-1222A99F078A}">
  <ds:schemaRefs>
    <ds:schemaRef ds:uri="http://www.sap.com/cof/powerpoint/application"/>
  </ds:schemaRefs>
</ds:datastoreItem>
</file>

<file path=customXml/itemProps6.xml><?xml version="1.0" encoding="utf-8"?>
<ds:datastoreItem xmlns:ds="http://schemas.openxmlformats.org/officeDocument/2006/customXml" ds:itemID="{101D4F39-BAAF-46D9-98BF-3DA669BEEFCE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ITE%20-%20Presentation</Template>
  <TotalTime>2070</TotalTime>
  <Words>226</Words>
  <Application>Microsoft Office PowerPoint</Application>
  <PresentationFormat>全屏显示(4:3)</PresentationFormat>
  <Paragraphs>45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宋体</vt:lpstr>
      <vt:lpstr>Arial</vt:lpstr>
      <vt:lpstr>Calibri</vt:lpstr>
      <vt:lpstr>Wingdings</vt:lpstr>
      <vt:lpstr>3_inSITE</vt:lpstr>
      <vt:lpstr>4_inSITE</vt:lpstr>
      <vt:lpstr>think-cell Slide</vt:lpstr>
      <vt:lpstr>Interface Between HIS and inSITE</vt:lpstr>
    </vt:vector>
  </TitlesOfParts>
  <Company>Fresenius Medical Ca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TE_Presentation_Template</dc:title>
  <dc:creator>Jan Haeuser</dc:creator>
  <cp:lastModifiedBy>Evelyn Liu</cp:lastModifiedBy>
  <cp:revision>4073</cp:revision>
  <cp:lastPrinted>2015-07-27T09:36:11Z</cp:lastPrinted>
  <dcterms:created xsi:type="dcterms:W3CDTF">2011-05-05T14:19:48Z</dcterms:created>
  <dcterms:modified xsi:type="dcterms:W3CDTF">2017-06-28T01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mment1" pid="2">
    <vt:lpwstr>Guideline for Domain Leads and Project Mangers how to review ATDs and report ETCs.</vt:lpwstr>
  </property>
  <property fmtid="{D5CDD505-2E9C-101B-9397-08002B2CF9AE}" name="ContentTypeId" pid="3">
    <vt:lpwstr>0x010100F2CE32368D907D4096A7240138FADCF5</vt:lpwstr>
  </property>
  <property fmtid="{D5CDD505-2E9C-101B-9397-08002B2CF9AE}" name="NXPowerLiteLastOptimized" pid="4">
    <vt:lpwstr>179560</vt:lpwstr>
  </property>
  <property fmtid="{D5CDD505-2E9C-101B-9397-08002B2CF9AE}" name="NXPowerLiteSettings" pid="5">
    <vt:lpwstr>F7000400038000</vt:lpwstr>
  </property>
  <property fmtid="{D5CDD505-2E9C-101B-9397-08002B2CF9AE}" name="NXPowerLiteVersion" pid="6">
    <vt:lpwstr>D6.2.12</vt:lpwstr>
  </property>
  <property fmtid="{D5CDD505-2E9C-101B-9397-08002B2CF9AE}" name="_dlc_DocId" pid="7">
    <vt:lpwstr>F6EC3H4XTSDF-59-710</vt:lpwstr>
  </property>
  <property fmtid="{D5CDD505-2E9C-101B-9397-08002B2CF9AE}" name="_dlc_DocIdItemGuid" pid="8">
    <vt:lpwstr>4f74578c-a242-43c6-aa02-ae8c77b22643</vt:lpwstr>
  </property>
  <property fmtid="{D5CDD505-2E9C-101B-9397-08002B2CF9AE}" name="_dlc_DocIdUrl" pid="9">
    <vt:lpwstr>https://insite.fresenius.de/projects/insite/ProgramManagement/_layouts/DocIdRedir.aspx?ID=F6EC3H4XTSDF-59-710, F6EC3H4XTSDF-59-710</vt:lpwstr>
  </property>
</Properties>
</file>